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4DA14-6EF0-75A0-FEA6-BFFF0C496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CC098D-5BD7-82B7-09A0-CE38B18B9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CC098D-5BD7-82B7-09A0-CE38B18B9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BAE94E-8403-EE4F-2B69-789335921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5DCF6AD-A629-6D00-B37D-23581DBDA37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FF1AA65-80B6-6041-1F1C-6E5E6F8AD3AF}"/>
              </a:ext>
            </a:extLst>
          </p:cNvPr>
          <p:cNvGraphicFramePr>
            <a:graphicFrameLocks noGrp="1"/>
          </p:cNvGraphicFramePr>
          <p:nvPr/>
        </p:nvGraphicFramePr>
        <p:xfrm>
          <a:off x="754521" y="1282309"/>
          <a:ext cx="10682958" cy="4722250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  <a:tr h="1436788">
                <a:tc>
                  <a:txBody>
                    <a:bodyPr/>
                    <a:lstStyle/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374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6584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0</TotalTime>
  <Words>21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82</cp:revision>
  <dcterms:created xsi:type="dcterms:W3CDTF">2021-03-31T02:49:57Z</dcterms:created>
  <dcterms:modified xsi:type="dcterms:W3CDTF">2025-10-16T10:41:42Z</dcterms:modified>
  <cp:category/>
</cp:coreProperties>
</file>